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"/>
  </p:notesMasterIdLst>
  <p:sldIdLst>
    <p:sldId id="282" r:id="rId2"/>
    <p:sldId id="283" r:id="rId3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00" autoAdjust="0"/>
    <p:restoredTop sz="80292" autoAdjust="0"/>
  </p:normalViewPr>
  <p:slideViewPr>
    <p:cSldViewPr snapToGrid="0">
      <p:cViewPr>
        <p:scale>
          <a:sx n="100" d="100"/>
          <a:sy n="100" d="100"/>
        </p:scale>
        <p:origin x="-990" y="16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FCC4D2F-25FA-40C1-BA4B-74B91E63B590}" type="datetimeFigureOut">
              <a:rPr lang="ru-RU" smtClean="0"/>
              <a:t>01.03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495D269-C552-4B20-A48D-918EE1EE7BE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291194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C91A7A-95F2-48E4-9608-EE988DF38D18}" type="datetimeFigureOut">
              <a:rPr lang="ru-RU" smtClean="0"/>
              <a:t>01.03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7DC7F7-9D7A-4AB3-A68E-0FAC26DFF2E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8974895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C91A7A-95F2-48E4-9608-EE988DF38D18}" type="datetimeFigureOut">
              <a:rPr lang="ru-RU" smtClean="0"/>
              <a:t>01.03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7DC7F7-9D7A-4AB3-A68E-0FAC26DFF2E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056242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C91A7A-95F2-48E4-9608-EE988DF38D18}" type="datetimeFigureOut">
              <a:rPr lang="ru-RU" smtClean="0"/>
              <a:t>01.03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7DC7F7-9D7A-4AB3-A68E-0FAC26DFF2E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2070939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:a16="http://schemas.microsoft.com/office/drawing/2014/main" xmlns="" id="{3576412D-AEAB-A34F-B2F6-EA45B5BF4FC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260"/>
            <a:ext cx="12192000" cy="6855480"/>
          </a:xfrm>
          <a:prstGeom prst="rect">
            <a:avLst/>
          </a:prstGeom>
        </p:spPr>
      </p:pic>
      <p:sp>
        <p:nvSpPr>
          <p:cNvPr id="9" name="Заголовок 8">
            <a:extLst>
              <a:ext uri="{FF2B5EF4-FFF2-40B4-BE49-F238E27FC236}">
                <a16:creationId xmlns:a16="http://schemas.microsoft.com/office/drawing/2014/main" xmlns="" id="{EFAE7B26-FFD4-154A-96F0-B7CDF2551C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96537" y="399555"/>
            <a:ext cx="9824259" cy="1208751"/>
          </a:xfrm>
        </p:spPr>
        <p:txBody>
          <a:bodyPr>
            <a:normAutofit/>
          </a:bodyPr>
          <a:lstStyle>
            <a:lvl1pPr>
              <a:defRPr sz="3200" b="0" i="0">
                <a:latin typeface="Basis Grotesque Pro Medium" panose="02000503030000020004" pitchFamily="2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7" name="Рисунок 13">
            <a:extLst>
              <a:ext uri="{FF2B5EF4-FFF2-40B4-BE49-F238E27FC236}">
                <a16:creationId xmlns:a16="http://schemas.microsoft.com/office/drawing/2014/main" xmlns="" id="{F003C687-ED5C-414C-A0C5-12D16465393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65839" y="2006599"/>
            <a:ext cx="7713993" cy="3856568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11" name="Текст 11">
            <a:extLst>
              <a:ext uri="{FF2B5EF4-FFF2-40B4-BE49-F238E27FC236}">
                <a16:creationId xmlns:a16="http://schemas.microsoft.com/office/drawing/2014/main" xmlns="" id="{DED0CE7E-2A04-1849-ADB1-FE6D195E42D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13185" y="2006601"/>
            <a:ext cx="3779172" cy="3856567"/>
          </a:xfrm>
        </p:spPr>
        <p:txBody>
          <a:bodyPr>
            <a:normAutofit/>
          </a:bodyPr>
          <a:lstStyle>
            <a:lvl1pPr marL="0" indent="0">
              <a:buNone/>
              <a:defRPr sz="1600" b="0" i="0">
                <a:latin typeface="Basis Grotesque Pro" panose="02000503030000020004" pitchFamily="2" charset="0"/>
              </a:defRPr>
            </a:lvl1pPr>
          </a:lstStyle>
          <a:p>
            <a:r>
              <a:rPr lang="ru-RU" dirty="0"/>
              <a:t>
</a:t>
            </a:r>
          </a:p>
        </p:txBody>
      </p:sp>
      <p:sp>
        <p:nvSpPr>
          <p:cNvPr id="8" name="Дата 14">
            <a:extLst>
              <a:ext uri="{FF2B5EF4-FFF2-40B4-BE49-F238E27FC236}">
                <a16:creationId xmlns:a16="http://schemas.microsoft.com/office/drawing/2014/main" xmlns="" id="{5B4ED584-B9D9-9345-82F7-B7304700985F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275007" y="6261462"/>
            <a:ext cx="2743200" cy="365125"/>
          </a:xfrm>
        </p:spPr>
        <p:txBody>
          <a:bodyPr/>
          <a:lstStyle>
            <a:lvl1pPr>
              <a:defRPr sz="1600" b="0" i="0">
                <a:solidFill>
                  <a:srgbClr val="7E949C"/>
                </a:solidFill>
                <a:latin typeface="Basis Grotesque Pro Medium" panose="02000503030000020004" pitchFamily="2" charset="0"/>
              </a:defRPr>
            </a:lvl1pPr>
          </a:lstStyle>
          <a:p>
            <a:r>
              <a:rPr lang="ru-RU"/>
              <a:t>‹#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255300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xmlns="" id="{EAC2584A-A9FC-7D47-AC08-6F38F624039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7" name="Заголовок 6">
            <a:extLst>
              <a:ext uri="{FF2B5EF4-FFF2-40B4-BE49-F238E27FC236}">
                <a16:creationId xmlns:a16="http://schemas.microsoft.com/office/drawing/2014/main" xmlns="" id="{ACC133B1-1598-614B-A12D-CF9A8A26D6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8" name="Дата 7">
            <a:extLst>
              <a:ext uri="{FF2B5EF4-FFF2-40B4-BE49-F238E27FC236}">
                <a16:creationId xmlns:a16="http://schemas.microsoft.com/office/drawing/2014/main" xmlns="" id="{28806F49-72CD-6948-ABF5-8C14EB9832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D1F9D4-C1A5-5847-B9D5-8C7D76FE55A1}" type="datetimeFigureOut">
              <a:rPr lang="ru-RU" smtClean="0"/>
              <a:pPr/>
              <a:t>01.03.2022</a:t>
            </a:fld>
            <a:endParaRPr lang="ru-RU"/>
          </a:p>
        </p:txBody>
      </p:sp>
      <p:sp>
        <p:nvSpPr>
          <p:cNvPr id="9" name="Нижний колонтитул 8">
            <a:extLst>
              <a:ext uri="{FF2B5EF4-FFF2-40B4-BE49-F238E27FC236}">
                <a16:creationId xmlns:a16="http://schemas.microsoft.com/office/drawing/2014/main" xmlns="" id="{F8500365-335F-6844-A0BE-7536891CEF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10" name="Номер слайда 9">
            <a:extLst>
              <a:ext uri="{FF2B5EF4-FFF2-40B4-BE49-F238E27FC236}">
                <a16:creationId xmlns:a16="http://schemas.microsoft.com/office/drawing/2014/main" xmlns="" id="{9F300244-8B1F-D741-B497-8F3ECF5363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021A07-E9D9-9D42-BD2F-72DC9091036E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054631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C91A7A-95F2-48E4-9608-EE988DF38D18}" type="datetimeFigureOut">
              <a:rPr lang="ru-RU" smtClean="0"/>
              <a:t>01.03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7DC7F7-9D7A-4AB3-A68E-0FAC26DFF2E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200324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C91A7A-95F2-48E4-9608-EE988DF38D18}" type="datetimeFigureOut">
              <a:rPr lang="ru-RU" smtClean="0"/>
              <a:t>01.03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7DC7F7-9D7A-4AB3-A68E-0FAC26DFF2E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3119777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C91A7A-95F2-48E4-9608-EE988DF38D18}" type="datetimeFigureOut">
              <a:rPr lang="ru-RU" smtClean="0"/>
              <a:t>01.03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7DC7F7-9D7A-4AB3-A68E-0FAC26DFF2E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890970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C91A7A-95F2-48E4-9608-EE988DF38D18}" type="datetimeFigureOut">
              <a:rPr lang="ru-RU" smtClean="0"/>
              <a:t>01.03.2022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7DC7F7-9D7A-4AB3-A68E-0FAC26DFF2E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5648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C91A7A-95F2-48E4-9608-EE988DF38D18}" type="datetimeFigureOut">
              <a:rPr lang="ru-RU" smtClean="0"/>
              <a:t>01.03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7DC7F7-9D7A-4AB3-A68E-0FAC26DFF2E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257781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C91A7A-95F2-48E4-9608-EE988DF38D18}" type="datetimeFigureOut">
              <a:rPr lang="ru-RU" smtClean="0"/>
              <a:t>01.03.2022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7DC7F7-9D7A-4AB3-A68E-0FAC26DFF2E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616980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C91A7A-95F2-48E4-9608-EE988DF38D18}" type="datetimeFigureOut">
              <a:rPr lang="ru-RU" smtClean="0"/>
              <a:t>01.03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7DC7F7-9D7A-4AB3-A68E-0FAC26DFF2E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0161113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C91A7A-95F2-48E4-9608-EE988DF38D18}" type="datetimeFigureOut">
              <a:rPr lang="ru-RU" smtClean="0"/>
              <a:t>01.03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7DC7F7-9D7A-4AB3-A68E-0FAC26DFF2E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229162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6C91A7A-95F2-48E4-9608-EE988DF38D18}" type="datetimeFigureOut">
              <a:rPr lang="ru-RU" smtClean="0"/>
              <a:t>01.03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47DC7F7-9D7A-4AB3-A68E-0FAC26DFF2E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7398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6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sv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4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10" Type="http://schemas.openxmlformats.org/officeDocument/2006/relationships/image" Target="../media/image51.svg"/><Relationship Id="rId4" Type="http://schemas.openxmlformats.org/officeDocument/2006/relationships/image" Target="../media/image3.jpg"/><Relationship Id="rId9" Type="http://schemas.openxmlformats.org/officeDocument/2006/relationships/image" Target="../media/image5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4236"/>
            <a:ext cx="12175668" cy="6853765"/>
          </a:xfrm>
          <a:prstGeom prst="rect">
            <a:avLst/>
          </a:prstGeom>
        </p:spPr>
      </p:pic>
      <p:sp>
        <p:nvSpPr>
          <p:cNvPr id="20" name="Прямоугольник 6">
            <a:extLst>
              <a:ext uri="{FF2B5EF4-FFF2-40B4-BE49-F238E27FC236}">
                <a16:creationId xmlns:a16="http://schemas.microsoft.com/office/drawing/2014/main" xmlns="" id="{EBFFDCB6-24AC-7342-96E9-67C4E6223963}"/>
              </a:ext>
            </a:extLst>
          </p:cNvPr>
          <p:cNvSpPr/>
          <p:nvPr/>
        </p:nvSpPr>
        <p:spPr>
          <a:xfrm>
            <a:off x="-1" y="-59765"/>
            <a:ext cx="8468852" cy="6951999"/>
          </a:xfrm>
          <a:custGeom>
            <a:avLst/>
            <a:gdLst>
              <a:gd name="connsiteX0" fmla="*/ 0 w 6869152"/>
              <a:gd name="connsiteY0" fmla="*/ 0 h 6869152"/>
              <a:gd name="connsiteX1" fmla="*/ 6869152 w 6869152"/>
              <a:gd name="connsiteY1" fmla="*/ 0 h 6869152"/>
              <a:gd name="connsiteX2" fmla="*/ 6869152 w 6869152"/>
              <a:gd name="connsiteY2" fmla="*/ 6869152 h 6869152"/>
              <a:gd name="connsiteX3" fmla="*/ 0 w 6869152"/>
              <a:gd name="connsiteY3" fmla="*/ 6869152 h 6869152"/>
              <a:gd name="connsiteX4" fmla="*/ 0 w 6869152"/>
              <a:gd name="connsiteY4" fmla="*/ 0 h 6869152"/>
              <a:gd name="connsiteX0" fmla="*/ 0 w 6869152"/>
              <a:gd name="connsiteY0" fmla="*/ 0 h 6869152"/>
              <a:gd name="connsiteX1" fmla="*/ 6869152 w 6869152"/>
              <a:gd name="connsiteY1" fmla="*/ 0 h 6869152"/>
              <a:gd name="connsiteX2" fmla="*/ 5274528 w 6869152"/>
              <a:gd name="connsiteY2" fmla="*/ 6858001 h 6869152"/>
              <a:gd name="connsiteX3" fmla="*/ 0 w 6869152"/>
              <a:gd name="connsiteY3" fmla="*/ 6869152 h 6869152"/>
              <a:gd name="connsiteX4" fmla="*/ 0 w 6869152"/>
              <a:gd name="connsiteY4" fmla="*/ 0 h 6869152"/>
              <a:gd name="connsiteX0" fmla="*/ 0 w 6869152"/>
              <a:gd name="connsiteY0" fmla="*/ 0 h 6869153"/>
              <a:gd name="connsiteX1" fmla="*/ 6869152 w 6869152"/>
              <a:gd name="connsiteY1" fmla="*/ 0 h 6869153"/>
              <a:gd name="connsiteX2" fmla="*/ 4334177 w 6869152"/>
              <a:gd name="connsiteY2" fmla="*/ 6869153 h 6869153"/>
              <a:gd name="connsiteX3" fmla="*/ 0 w 6869152"/>
              <a:gd name="connsiteY3" fmla="*/ 6869152 h 6869153"/>
              <a:gd name="connsiteX4" fmla="*/ 0 w 6869152"/>
              <a:gd name="connsiteY4" fmla="*/ 0 h 6869153"/>
              <a:gd name="connsiteX0" fmla="*/ 0 w 6869152"/>
              <a:gd name="connsiteY0" fmla="*/ 0 h 6869152"/>
              <a:gd name="connsiteX1" fmla="*/ 6869152 w 6869152"/>
              <a:gd name="connsiteY1" fmla="*/ 0 h 6869152"/>
              <a:gd name="connsiteX2" fmla="*/ 5371493 w 6869152"/>
              <a:gd name="connsiteY2" fmla="*/ 6858002 h 6869152"/>
              <a:gd name="connsiteX3" fmla="*/ 0 w 6869152"/>
              <a:gd name="connsiteY3" fmla="*/ 6869152 h 6869152"/>
              <a:gd name="connsiteX4" fmla="*/ 0 w 6869152"/>
              <a:gd name="connsiteY4" fmla="*/ 0 h 6869152"/>
              <a:gd name="connsiteX0" fmla="*/ 0 w 7632391"/>
              <a:gd name="connsiteY0" fmla="*/ 0 h 6869152"/>
              <a:gd name="connsiteX1" fmla="*/ 7632391 w 7632391"/>
              <a:gd name="connsiteY1" fmla="*/ 11151 h 6869152"/>
              <a:gd name="connsiteX2" fmla="*/ 5371493 w 7632391"/>
              <a:gd name="connsiteY2" fmla="*/ 6858002 h 6869152"/>
              <a:gd name="connsiteX3" fmla="*/ 0 w 7632391"/>
              <a:gd name="connsiteY3" fmla="*/ 6869152 h 6869152"/>
              <a:gd name="connsiteX4" fmla="*/ 0 w 7632391"/>
              <a:gd name="connsiteY4" fmla="*/ 0 h 68691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32391" h="6869152">
                <a:moveTo>
                  <a:pt x="0" y="0"/>
                </a:moveTo>
                <a:lnTo>
                  <a:pt x="7632391" y="11151"/>
                </a:lnTo>
                <a:lnTo>
                  <a:pt x="5371493" y="6858002"/>
                </a:lnTo>
                <a:lnTo>
                  <a:pt x="0" y="6869152"/>
                </a:lnTo>
                <a:lnTo>
                  <a:pt x="0" y="0"/>
                </a:lnTo>
                <a:close/>
              </a:path>
            </a:pathLst>
          </a:custGeom>
          <a:solidFill>
            <a:srgbClr val="323B4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25" dirty="0"/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4" name="Объект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Рисунок 7">
            <a:extLst>
              <a:ext uri="{FF2B5EF4-FFF2-40B4-BE49-F238E27FC236}">
                <a16:creationId xmlns:a16="http://schemas.microsoft.com/office/drawing/2014/main" xmlns="" id="{D6D03DBC-3C8F-4B4F-B28A-E402C22F723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07175" y="6222258"/>
            <a:ext cx="2057400" cy="469900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xmlns="" id="{BC75B5B4-83FA-4F4D-B76B-5869B411E44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=""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11873" y="206909"/>
            <a:ext cx="1521531" cy="1521531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xmlns="" id="{50A2796B-AF52-DB49-A6E6-D5A8B45C23AE}"/>
              </a:ext>
            </a:extLst>
          </p:cNvPr>
          <p:cNvSpPr txBox="1"/>
          <p:nvPr/>
        </p:nvSpPr>
        <p:spPr>
          <a:xfrm>
            <a:off x="664487" y="1600167"/>
            <a:ext cx="6919655" cy="3539815"/>
          </a:xfrm>
          <a:prstGeom prst="rect">
            <a:avLst/>
          </a:prstGeom>
          <a:noFill/>
        </p:spPr>
        <p:txBody>
          <a:bodyPr wrap="square" lIns="0" rIns="90000" rtlCol="0">
            <a:spAutoFit/>
          </a:bodyPr>
          <a:lstStyle/>
          <a:p>
            <a:pPr algn="l"/>
            <a:r>
              <a:rPr lang="ru-RU" sz="2667" dirty="0">
                <a:solidFill>
                  <a:schemeClr val="bg1"/>
                </a:solidFill>
                <a:latin typeface="Calibri (Основной текст)"/>
                <a:cs typeface="Arial" panose="020B0604020202020204" pitchFamily="34" charset="0"/>
              </a:rPr>
              <a:t>проект</a:t>
            </a:r>
          </a:p>
          <a:p>
            <a:pPr algn="l"/>
            <a:endParaRPr lang="ru-RU" sz="2667" dirty="0">
              <a:solidFill>
                <a:schemeClr val="bg1"/>
              </a:solidFill>
              <a:latin typeface="Calibri (Основной текст)"/>
              <a:cs typeface="Arial" panose="020B0604020202020204" pitchFamily="34" charset="0"/>
            </a:endParaRPr>
          </a:p>
          <a:p>
            <a:r>
              <a:rPr lang="ru-RU" sz="4267" dirty="0">
                <a:solidFill>
                  <a:schemeClr val="bg1"/>
                </a:solidFill>
                <a:latin typeface="Calibri (Основной текст)"/>
                <a:cs typeface="Arial" panose="020B0604020202020204" pitchFamily="34" charset="0"/>
              </a:rPr>
              <a:t>АВТОМАТИЗИРОВАННЫЙ МОНИТОРИНГ ПАВОДКОВОЙ ОБСТАНОВКИ</a:t>
            </a:r>
          </a:p>
        </p:txBody>
      </p:sp>
    </p:spTree>
    <p:extLst>
      <p:ext uri="{BB962C8B-B14F-4D97-AF65-F5344CB8AC3E}">
        <p14:creationId xmlns:p14="http://schemas.microsoft.com/office/powerpoint/2010/main" val="13403404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sz="quarter" idx="11"/>
          </p:nvPr>
        </p:nvSpPr>
        <p:spPr/>
      </p:sp>
      <p:sp>
        <p:nvSpPr>
          <p:cNvPr id="4" name="Текст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ru-RU" smtClean="0"/>
              <a:t>‹#›</a:t>
            </a:r>
            <a:endParaRPr lang="ru-RU" dirty="0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9"/>
            <a:ext cx="12192000" cy="685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95583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26</TotalTime>
  <Words>6</Words>
  <Application>Microsoft Office PowerPoint</Application>
  <PresentationFormat>Произвольный</PresentationFormat>
  <Paragraphs>4</Paragraphs>
  <Slides>2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</vt:i4>
      </vt:variant>
    </vt:vector>
  </HeadingPairs>
  <TitlesOfParts>
    <vt:vector size="4" baseType="lpstr">
      <vt:lpstr>Тема Office</vt:lpstr>
      <vt:lpstr>think-cell Slide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Симонов Константин Владиславович</dc:creator>
  <cp:lastModifiedBy>Образцов Андрей Юрьевич</cp:lastModifiedBy>
  <cp:revision>33</cp:revision>
  <dcterms:created xsi:type="dcterms:W3CDTF">2021-10-11T06:41:05Z</dcterms:created>
  <dcterms:modified xsi:type="dcterms:W3CDTF">2022-03-01T11:56:38Z</dcterms:modified>
</cp:coreProperties>
</file>